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2" r:id="rId2"/>
    <p:sldId id="258" r:id="rId3"/>
    <p:sldId id="257" r:id="rId4"/>
    <p:sldId id="259" r:id="rId5"/>
    <p:sldId id="260" r:id="rId6"/>
    <p:sldId id="261" r:id="rId7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7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446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A378-BFD2-470A-8571-BBCA1051F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4DDF7FF-DE05-42F3-A00E-A0CE180CAC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B89324-75B9-42F7-A601-DD5DE8870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FD4AB7E-9FAC-414F-8B58-0175D1251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41FEDB8-D51E-4AAA-BB4A-2BDB45BD5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180582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F8F9D9-B026-4FA8-AED6-CF8E34F18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EB3A289-CA8B-4DB0-8D64-DC01969499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3DAF557-D5CE-4FA2-A7AD-EC97F7EEF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9A3A14-0037-4912-9A95-5F24FEF21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4D4C4-0CC6-46DF-ADB7-66C455A83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634195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920B006B-606C-4334-A4DD-6C1D25A033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6A48567-C36C-4A1B-B372-4130A277DB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DE390A8-D096-4376-A0D7-B41885F83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7480652-E68E-4202-8E94-E8B4615C8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A392EF7-6911-4F7A-928B-5E8DCC0CA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578000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B88299-3F38-4B99-8992-7594BB421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103CE1-8116-47E5-BD6C-B586CCFAB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04967B-E8EA-40C7-A29D-DF1D10F1B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03A08B-B035-4B41-AEBC-44852FC70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FD2527B-D8A6-4CEC-AD72-00169FDC9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83492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627B95-6463-465F-A43F-0504FA114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687909-6A89-45FC-84B5-53A2D2A7F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B13C0F-9EA8-44AC-9F55-7AADEEBD7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E09F80-209E-4E60-92E5-17B6A8F42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978CC2-F094-431C-B2B2-29775D108A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7156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BF3D57-0D00-4382-9B95-C81D888C2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52AF3D1-048D-47BE-BD9E-61471070B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FE76188-0F58-4457-8C71-4F71BBFE2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396ACD-00BA-4BC6-9356-0E93E8140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535FC35-F2CA-44E1-B489-1D82FAF7E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2FCE614-2073-4CF3-A19A-694A7A135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96058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56B458-0AD4-487C-BCB0-4FF61F862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B83E0D-14DA-46B7-A9F7-B5C044B5E6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DA7774-7D70-4408-B357-E6BE630D72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07B9C0-27F8-42CA-9674-FB28812706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ABD3D33-6BCE-407D-B3FE-FC88ADD0A55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18419CB-F99C-43CA-AA7C-B6831FFFB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719927A-F675-4E05-9627-164DA9C90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136BB8-4833-49FA-A309-56C74C201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33610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4A8E16-90D6-4F65-875B-0BADE6320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2F377CD-3519-449D-827A-FBC9258EE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8C37628-9B9F-4B08-8859-52C23AEF84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C4883C-C555-474B-8AF7-A80A34529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121766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778205-0790-4529-91FD-19EAA4FCFF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BECCF3-01F7-4435-8754-58D67883D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BC01D7-FDED-4D11-87C9-7F9A5B3D8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98157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58F465-71CD-4595-BF6A-B58601D55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8F2501F-AC4B-4700-B524-0D44829DEF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7D03291-BA23-426E-A258-5B00D39434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F1946DF-519B-40B3-A817-7F3A98058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90064D3-53E5-4041-9A92-C3C5CB6DE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7DB52CA-414C-48A0-9F91-298FECDA3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320323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D3E1DC-1870-4E39-AC00-C2E93761A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AE11E73-DBE5-4863-A1E1-84BA0411B9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80F752E-581F-4A30-90A0-F7E83BFA3C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A8EECB-FF04-4066-A9F9-BFCFA6495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1287D25-3846-4A85-84DB-7D4D0CFA63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092A505-7DDC-4AAC-8D49-132B7220D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257032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0866D8A-0C13-4896-9D0A-4CF7B162AE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94579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16" imgW="353" imgH="353" progId="TCLayout.ActiveDocument.1">
                  <p:embed/>
                </p:oleObj>
              </mc:Choice>
              <mc:Fallback>
                <p:oleObj name="think-cell Folie" r:id="rId1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7B0639F-32A9-460A-97E8-87867761779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81ECCA4-AFEA-49FC-A72B-6AC6F4BC6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0F34C3-BAC5-4900-97E5-16798DDE30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CE84324-73A8-4BE0-AE98-C027BF6D21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5AAFBD-1E21-4B59-8DED-67B135AD96AF}" type="datetimeFigureOut">
              <a:rPr lang="de-AT" smtClean="0"/>
              <a:t>03.06.2020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1615AE-6E78-4A58-A49E-2019BBC067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72AEF1B-8D26-4592-9ADB-536380A738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C0704F-A49C-46EA-82E3-BDF2D2CAE83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74075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FADADF9-2116-4A93-AFEF-B34A8B03C3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3420" y="2711669"/>
            <a:ext cx="5442292" cy="3862552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327DCCF-C607-41B3-9199-1B8B23A283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306" y="774087"/>
            <a:ext cx="5008833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6581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C2E16924-C0BC-47EA-890F-8BCA6EE474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458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>
            <a:extLst>
              <a:ext uri="{FF2B5EF4-FFF2-40B4-BE49-F238E27FC236}">
                <a16:creationId xmlns:a16="http://schemas.microsoft.com/office/drawing/2014/main" id="{84863BB5-09C9-47AA-8AB2-A62D8C6924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AT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5" name="Titel 34">
            <a:extLst>
              <a:ext uri="{FF2B5EF4-FFF2-40B4-BE49-F238E27FC236}">
                <a16:creationId xmlns:a16="http://schemas.microsoft.com/office/drawing/2014/main" id="{710F95EE-991E-4049-A723-4028BBED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Company logo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3FF6989-9ECF-49B0-B30C-F295ADFA5F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9644" y="4267135"/>
            <a:ext cx="5343525" cy="108585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FE59AC4-A9C3-44B8-B561-758DCB7A85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0702" y="2728912"/>
            <a:ext cx="2115378" cy="1223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8555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921CAEA-21A0-4A10-92EF-C1ABB79A60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322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>
            <a:extLst>
              <a:ext uri="{FF2B5EF4-FFF2-40B4-BE49-F238E27FC236}">
                <a16:creationId xmlns:a16="http://schemas.microsoft.com/office/drawing/2014/main" id="{3487101B-AA9F-40CB-85B0-C5C91C3A0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Color-</a:t>
            </a:r>
            <a:r>
              <a:rPr lang="de-AT" dirty="0" err="1"/>
              <a:t>scheme</a:t>
            </a:r>
            <a:endParaRPr lang="de-AT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8F88AD6-DF49-44B6-9665-8307DA3755B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5372"/>
          <a:stretch/>
        </p:blipFill>
        <p:spPr>
          <a:xfrm>
            <a:off x="1181757" y="1797269"/>
            <a:ext cx="9639300" cy="442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334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1835BA6-840D-49B5-A8CF-18440353C8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849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294" imgH="294" progId="TCLayout.ActiveDocument.1">
                  <p:embed/>
                </p:oleObj>
              </mc:Choice>
              <mc:Fallback>
                <p:oleObj name="think-cell Folie" r:id="rId5" imgW="294" imgH="2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81E23D19-7F1A-4E21-B4D2-3BC8407744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AT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490197-891F-48AD-8D13-A6F20D917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Script</a:t>
            </a:r>
            <a:r>
              <a:rPr lang="de-AT" dirty="0"/>
              <a:t> I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709546E-74AD-436C-8368-9155196945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69724" y="1797050"/>
            <a:ext cx="8553450" cy="469582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92E107D-1DE4-4CA2-ADDB-0A1583379BB7}"/>
              </a:ext>
            </a:extLst>
          </p:cNvPr>
          <p:cNvSpPr txBox="1"/>
          <p:nvPr/>
        </p:nvSpPr>
        <p:spPr>
          <a:xfrm>
            <a:off x="7617898" y="2623382"/>
            <a:ext cx="2894549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AT" sz="1100" cap="all" dirty="0" err="1"/>
              <a:t>for</a:t>
            </a:r>
            <a:r>
              <a:rPr lang="de-AT" sz="1100" cap="all" dirty="0"/>
              <a:t> </a:t>
            </a:r>
            <a:r>
              <a:rPr lang="de-AT" sz="1100" cap="all" dirty="0" err="1"/>
              <a:t>headlines</a:t>
            </a:r>
            <a:r>
              <a:rPr lang="de-AT" sz="1100" cap="all" dirty="0"/>
              <a:t>; </a:t>
            </a:r>
            <a:r>
              <a:rPr lang="de-AT" sz="1100" cap="all" dirty="0" err="1"/>
              <a:t>only</a:t>
            </a:r>
            <a:r>
              <a:rPr lang="de-AT" sz="1100" cap="all" dirty="0"/>
              <a:t> </a:t>
            </a:r>
            <a:r>
              <a:rPr lang="de-AT" sz="1100" cap="all" dirty="0" err="1"/>
              <a:t>capital</a:t>
            </a:r>
            <a:r>
              <a:rPr lang="de-AT" sz="1100" cap="all" dirty="0"/>
              <a:t> </a:t>
            </a:r>
            <a:r>
              <a:rPr lang="de-AT" sz="1100" cap="all" dirty="0" err="1"/>
              <a:t>letters</a:t>
            </a:r>
            <a:endParaRPr lang="de-AT" sz="1100" cap="all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C5AF886-9316-4DFE-83EB-ED412F0A65BD}"/>
              </a:ext>
            </a:extLst>
          </p:cNvPr>
          <p:cNvSpPr txBox="1"/>
          <p:nvPr/>
        </p:nvSpPr>
        <p:spPr>
          <a:xfrm>
            <a:off x="7617897" y="4995567"/>
            <a:ext cx="2894549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AT" sz="1100" cap="all" dirty="0" err="1"/>
              <a:t>for</a:t>
            </a:r>
            <a:r>
              <a:rPr lang="de-AT" sz="1100" cap="all" dirty="0"/>
              <a:t> </a:t>
            </a:r>
            <a:r>
              <a:rPr lang="de-AT" sz="1100" cap="all" dirty="0" err="1"/>
              <a:t>headlines</a:t>
            </a:r>
            <a:r>
              <a:rPr lang="de-AT" sz="1100" cap="all" dirty="0"/>
              <a:t>; </a:t>
            </a:r>
            <a:r>
              <a:rPr lang="de-AT" sz="1100" cap="all" dirty="0" err="1"/>
              <a:t>only</a:t>
            </a:r>
            <a:r>
              <a:rPr lang="de-AT" sz="1100" cap="all" dirty="0"/>
              <a:t> </a:t>
            </a:r>
            <a:r>
              <a:rPr lang="de-AT" sz="1100" cap="all" dirty="0" err="1"/>
              <a:t>capital</a:t>
            </a:r>
            <a:r>
              <a:rPr lang="de-AT" sz="1100" cap="all" dirty="0"/>
              <a:t> </a:t>
            </a:r>
            <a:r>
              <a:rPr lang="de-AT" sz="1100" cap="all" dirty="0" err="1"/>
              <a:t>letters</a:t>
            </a:r>
            <a:endParaRPr lang="de-AT" sz="1100" cap="all" dirty="0"/>
          </a:p>
        </p:txBody>
      </p:sp>
    </p:spTree>
    <p:extLst>
      <p:ext uri="{BB962C8B-B14F-4D97-AF65-F5344CB8AC3E}">
        <p14:creationId xmlns:p14="http://schemas.microsoft.com/office/powerpoint/2010/main" val="34295151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CDE4481-D570-4C77-ADE9-40549F9452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3332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294" imgH="294" progId="TCLayout.ActiveDocument.1">
                  <p:embed/>
                </p:oleObj>
              </mc:Choice>
              <mc:Fallback>
                <p:oleObj name="think-cell Folie" r:id="rId5" imgW="294" imgH="2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DA545217-9352-4F77-98F6-42413AF04E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AT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201DCD-39D5-4C59-8806-24E6527E11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Script</a:t>
            </a:r>
            <a:r>
              <a:rPr lang="de-AT" dirty="0"/>
              <a:t> II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46E0896-D7B6-4BAD-8525-4081E05A35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6124" y="2111988"/>
            <a:ext cx="8905875" cy="428625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BD3E3C38-0AE7-4BC8-9E7F-6C5B8C00057B}"/>
              </a:ext>
            </a:extLst>
          </p:cNvPr>
          <p:cNvSpPr txBox="1"/>
          <p:nvPr/>
        </p:nvSpPr>
        <p:spPr>
          <a:xfrm>
            <a:off x="7513318" y="2818874"/>
            <a:ext cx="233960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AT" sz="1100" dirty="0" err="1"/>
              <a:t>for</a:t>
            </a:r>
            <a:r>
              <a:rPr lang="de-AT" sz="1100" dirty="0"/>
              <a:t> sub-headline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B81DFAD-DAAE-47DF-9267-13546F05A8CA}"/>
              </a:ext>
            </a:extLst>
          </p:cNvPr>
          <p:cNvSpPr txBox="1"/>
          <p:nvPr/>
        </p:nvSpPr>
        <p:spPr>
          <a:xfrm>
            <a:off x="7513318" y="3777516"/>
            <a:ext cx="4531537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AT" sz="1100" dirty="0" err="1"/>
              <a:t>for</a:t>
            </a:r>
            <a:r>
              <a:rPr lang="de-AT" sz="1100" dirty="0"/>
              <a:t> </a:t>
            </a:r>
            <a:r>
              <a:rPr lang="de-AT" sz="1100" dirty="0" err="1"/>
              <a:t>remarks</a:t>
            </a:r>
            <a:r>
              <a:rPr lang="de-AT" sz="1100" dirty="0"/>
              <a:t> not </a:t>
            </a:r>
            <a:r>
              <a:rPr lang="de-AT" sz="1100" dirty="0" err="1"/>
              <a:t>part</a:t>
            </a:r>
            <a:r>
              <a:rPr lang="de-AT" sz="1100" dirty="0"/>
              <a:t> of </a:t>
            </a:r>
            <a:r>
              <a:rPr lang="de-AT" sz="1100" dirty="0" err="1"/>
              <a:t>the</a:t>
            </a:r>
            <a:r>
              <a:rPr lang="de-AT" sz="1100" dirty="0"/>
              <a:t> </a:t>
            </a:r>
            <a:r>
              <a:rPr lang="de-AT" sz="1100" dirty="0" err="1"/>
              <a:t>running</a:t>
            </a:r>
            <a:r>
              <a:rPr lang="de-AT" sz="1100" dirty="0"/>
              <a:t> </a:t>
            </a:r>
            <a:r>
              <a:rPr lang="de-AT" sz="1100" dirty="0" err="1"/>
              <a:t>text</a:t>
            </a:r>
            <a:r>
              <a:rPr lang="de-AT" sz="1100" dirty="0"/>
              <a:t> (e.g. Content, Agenda, </a:t>
            </a:r>
            <a:r>
              <a:rPr lang="de-AT" sz="1100" dirty="0" err="1"/>
              <a:t>Tables</a:t>
            </a:r>
            <a:r>
              <a:rPr lang="de-AT" sz="1100" dirty="0"/>
              <a:t>, Image </a:t>
            </a:r>
            <a:r>
              <a:rPr lang="de-AT" sz="1100" dirty="0" err="1"/>
              <a:t>titles</a:t>
            </a:r>
            <a:r>
              <a:rPr lang="de-AT" sz="1100" dirty="0"/>
              <a:t>); ONLY IN CAPITAL LETTER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54D5A59-B949-4D01-9EDF-2C3EEB0F52D2}"/>
              </a:ext>
            </a:extLst>
          </p:cNvPr>
          <p:cNvSpPr txBox="1"/>
          <p:nvPr/>
        </p:nvSpPr>
        <p:spPr>
          <a:xfrm>
            <a:off x="7513317" y="4905435"/>
            <a:ext cx="233960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AT" sz="1100" dirty="0" err="1"/>
              <a:t>for</a:t>
            </a:r>
            <a:r>
              <a:rPr lang="de-AT" sz="1100" dirty="0"/>
              <a:t> </a:t>
            </a:r>
            <a:r>
              <a:rPr lang="de-AT" sz="1100" dirty="0" err="1"/>
              <a:t>running</a:t>
            </a:r>
            <a:r>
              <a:rPr lang="de-AT" sz="1100" dirty="0"/>
              <a:t> </a:t>
            </a:r>
            <a:r>
              <a:rPr lang="de-AT" sz="1100" dirty="0" err="1"/>
              <a:t>text</a:t>
            </a:r>
            <a:endParaRPr lang="de-AT" sz="11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4F2C6C8-2E9E-4F5C-955A-55C946693152}"/>
              </a:ext>
            </a:extLst>
          </p:cNvPr>
          <p:cNvSpPr txBox="1"/>
          <p:nvPr/>
        </p:nvSpPr>
        <p:spPr>
          <a:xfrm>
            <a:off x="7558512" y="5984848"/>
            <a:ext cx="233960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AT" sz="1100" dirty="0" err="1"/>
              <a:t>for</a:t>
            </a:r>
            <a:r>
              <a:rPr lang="de-AT" sz="1100" dirty="0"/>
              <a:t> </a:t>
            </a:r>
            <a:r>
              <a:rPr lang="de-AT" sz="1100" dirty="0" err="1"/>
              <a:t>running</a:t>
            </a:r>
            <a:r>
              <a:rPr lang="de-AT" sz="1100" dirty="0"/>
              <a:t> </a:t>
            </a:r>
            <a:r>
              <a:rPr lang="de-AT" sz="1100" dirty="0" err="1"/>
              <a:t>text</a:t>
            </a:r>
            <a:r>
              <a:rPr lang="de-AT" sz="1100" dirty="0"/>
              <a:t> - </a:t>
            </a:r>
            <a:r>
              <a:rPr lang="de-AT" sz="1100" dirty="0" err="1"/>
              <a:t>bold</a:t>
            </a:r>
            <a:endParaRPr lang="de-AT" sz="1100" dirty="0"/>
          </a:p>
        </p:txBody>
      </p:sp>
    </p:spTree>
    <p:extLst>
      <p:ext uri="{BB962C8B-B14F-4D97-AF65-F5344CB8AC3E}">
        <p14:creationId xmlns:p14="http://schemas.microsoft.com/office/powerpoint/2010/main" val="41420349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FB616C0-AFCC-41B7-9A2C-B322AC7D3B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981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5" imgW="294" imgH="294" progId="TCLayout.ActiveDocument.1">
                  <p:embed/>
                </p:oleObj>
              </mc:Choice>
              <mc:Fallback>
                <p:oleObj name="think-cell Folie" r:id="rId5" imgW="294" imgH="2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12582CD6-CD2A-4414-A388-64E493BDA0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AT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C2D75B5-5B1A-4091-8CD9-BE8B396F0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nfoboxe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99569CD-EF67-4F4F-BA7D-D26B0A59A9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10363" y="1206500"/>
            <a:ext cx="8410575" cy="528637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A8E3AAE3-436D-47EB-AE06-F0D7C2A4CD66}"/>
              </a:ext>
            </a:extLst>
          </p:cNvPr>
          <p:cNvSpPr txBox="1"/>
          <p:nvPr/>
        </p:nvSpPr>
        <p:spPr>
          <a:xfrm>
            <a:off x="2020612" y="1863979"/>
            <a:ext cx="233960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AT" sz="1100" dirty="0"/>
              <a:t>Infobox </a:t>
            </a:r>
            <a:r>
              <a:rPr lang="de-AT" sz="1100" dirty="0" err="1"/>
              <a:t>Keyfacts</a:t>
            </a:r>
            <a:endParaRPr lang="de-AT" sz="11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D19A563-3BF9-47C3-8525-7CC0FE51D2D2}"/>
              </a:ext>
            </a:extLst>
          </p:cNvPr>
          <p:cNvSpPr txBox="1"/>
          <p:nvPr/>
        </p:nvSpPr>
        <p:spPr>
          <a:xfrm>
            <a:off x="4796297" y="1863979"/>
            <a:ext cx="2339603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AT" sz="1100" dirty="0"/>
              <a:t>Infobox </a:t>
            </a:r>
            <a:r>
              <a:rPr lang="de-AT" sz="1100" dirty="0" err="1"/>
              <a:t>for</a:t>
            </a:r>
            <a:r>
              <a:rPr lang="de-AT" sz="1100" dirty="0"/>
              <a:t> </a:t>
            </a:r>
            <a:r>
              <a:rPr lang="de-AT" sz="1100" dirty="0" err="1"/>
              <a:t>Does</a:t>
            </a:r>
            <a:r>
              <a:rPr lang="de-AT" sz="1100" dirty="0"/>
              <a:t> &amp; </a:t>
            </a:r>
            <a:r>
              <a:rPr lang="de-AT" sz="1100" dirty="0" err="1"/>
              <a:t>Dont‘s</a:t>
            </a:r>
            <a:endParaRPr lang="de-AT" sz="1100" dirty="0"/>
          </a:p>
          <a:p>
            <a:endParaRPr lang="de-AT" sz="11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02DD3B-94E6-403E-B528-3453FF7322BB}"/>
              </a:ext>
            </a:extLst>
          </p:cNvPr>
          <p:cNvSpPr txBox="1"/>
          <p:nvPr/>
        </p:nvSpPr>
        <p:spPr>
          <a:xfrm>
            <a:off x="7313525" y="1779340"/>
            <a:ext cx="2339603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AT" sz="1100" dirty="0"/>
              <a:t>Lines </a:t>
            </a:r>
            <a:r>
              <a:rPr lang="de-AT" sz="1100" dirty="0" err="1"/>
              <a:t>for</a:t>
            </a:r>
            <a:r>
              <a:rPr lang="de-AT" sz="1100" dirty="0"/>
              <a:t> </a:t>
            </a:r>
            <a:r>
              <a:rPr lang="de-AT" sz="1100" dirty="0" err="1"/>
              <a:t>optical</a:t>
            </a:r>
            <a:r>
              <a:rPr lang="de-AT" sz="1100" dirty="0"/>
              <a:t> </a:t>
            </a:r>
            <a:r>
              <a:rPr lang="de-AT" sz="1100" dirty="0" err="1"/>
              <a:t>separation</a:t>
            </a:r>
            <a:r>
              <a:rPr lang="de-AT" sz="1100" dirty="0"/>
              <a:t>; 0,5pt, </a:t>
            </a:r>
            <a:r>
              <a:rPr lang="de-AT" sz="1100" dirty="0" err="1"/>
              <a:t>dashed</a:t>
            </a:r>
            <a:endParaRPr lang="de-AT" sz="1100" dirty="0"/>
          </a:p>
        </p:txBody>
      </p:sp>
    </p:spTree>
    <p:extLst>
      <p:ext uri="{BB962C8B-B14F-4D97-AF65-F5344CB8AC3E}">
        <p14:creationId xmlns:p14="http://schemas.microsoft.com/office/powerpoint/2010/main" val="955265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.3hPkwbv9jiTeKFlmv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p2mkS4B36W8exXstsT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Qhlti7lawufA.TPh6_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vYPoactPDWU.3Cf5jj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JSJXK4Zhj2.I0TY5yb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3</Words>
  <Application>Microsoft Office PowerPoint</Application>
  <PresentationFormat>Breitbild</PresentationFormat>
  <Paragraphs>14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</vt:lpstr>
      <vt:lpstr>think-cell Folie</vt:lpstr>
      <vt:lpstr>PowerPoint-Präsentation</vt:lpstr>
      <vt:lpstr>Company logo</vt:lpstr>
      <vt:lpstr>Color-scheme</vt:lpstr>
      <vt:lpstr>Script I</vt:lpstr>
      <vt:lpstr>Script II</vt:lpstr>
      <vt:lpstr>Infobox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or-scheme</dc:title>
  <dc:creator>Paseka Anna</dc:creator>
  <cp:lastModifiedBy>Paseka Anna</cp:lastModifiedBy>
  <cp:revision>6</cp:revision>
  <dcterms:created xsi:type="dcterms:W3CDTF">2020-05-28T10:51:33Z</dcterms:created>
  <dcterms:modified xsi:type="dcterms:W3CDTF">2020-06-03T10:35:20Z</dcterms:modified>
</cp:coreProperties>
</file>